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28" r:id="rId2"/>
    <p:sldId id="337" r:id="rId3"/>
    <p:sldId id="332" r:id="rId4"/>
    <p:sldId id="334" r:id="rId5"/>
    <p:sldId id="336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6" d="100"/>
          <a:sy n="96" d="100"/>
        </p:scale>
        <p:origin x="59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4-03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4-03-08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SG hållbar utveckling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3-2025</a:t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Cirkulära materialflöden av förkläden och hjälpmedel</a:t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</a:t>
            </a:r>
            <a:r>
              <a:rPr lang="sv-SE" sz="1400" dirty="0" smtClean="0">
                <a:solidFill>
                  <a:schemeClr val="bg1"/>
                </a:solidFill>
              </a:rPr>
              <a:t>2024-03-08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311971"/>
              </p:ext>
            </p:extLst>
          </p:nvPr>
        </p:nvGraphicFramePr>
        <p:xfrm>
          <a:off x="0" y="2"/>
          <a:ext cx="12192001" cy="298173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17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6440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50362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124056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922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34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Cirkulära materialflöden av förklä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Ta fram en bild över nuläge – logistikflöden, befintliga avtal, </a:t>
                      </a:r>
                      <a:r>
                        <a:rPr lang="sv-SE" sz="1300" kern="1200" baseline="0" dirty="0" err="1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spendanalys</a:t>
                      </a: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, konsekvensbedömning </a:t>
                      </a:r>
                      <a:r>
                        <a:rPr lang="sv-SE" sz="1300" kern="1200" baseline="0" dirty="0" err="1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etc</a:t>
                      </a:r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>
                          <a:latin typeface="+mj-lt"/>
                        </a:rPr>
                        <a:t>Nulägesanalys inklusive konsekvensbedöm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953">
                <a:tc>
                  <a:txBody>
                    <a:bodyPr/>
                    <a:lstStyle/>
                    <a:p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Välj </a:t>
                      </a:r>
                      <a:r>
                        <a:rPr lang="sv-SE" sz="1300" kern="1200" baseline="0" dirty="0" smtClean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pilotområde</a:t>
                      </a:r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erksamhet är utval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953">
                <a:tc>
                  <a:txBody>
                    <a:bodyPr/>
                    <a:lstStyle/>
                    <a:p>
                      <a:pPr lvl="0"/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dirty="0">
                          <a:latin typeface="+mj-lt"/>
                        </a:rPr>
                        <a:t>Intressentdialog</a:t>
                      </a:r>
                      <a:r>
                        <a:rPr lang="sv-SE" sz="1300" baseline="0" dirty="0">
                          <a:latin typeface="+mj-lt"/>
                        </a:rPr>
                        <a:t> och </a:t>
                      </a:r>
                      <a:r>
                        <a:rPr lang="sv-SE" sz="1300" baseline="0" dirty="0" smtClean="0">
                          <a:latin typeface="+mj-lt"/>
                        </a:rPr>
                        <a:t>förankring</a:t>
                      </a:r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ialog genomfö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3447">
                <a:tc>
                  <a:txBody>
                    <a:bodyPr/>
                    <a:lstStyle/>
                    <a:p>
                      <a:endParaRPr lang="sv-SE" sz="130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Undersök möjligheten att samupphandla tjänsten cirkulära förklä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300" b="0" i="0" dirty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Plan för upphandl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300" b="0" i="1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953">
                <a:tc>
                  <a:txBody>
                    <a:bodyPr/>
                    <a:lstStyle/>
                    <a:p>
                      <a:endParaRPr lang="sv-SE" sz="130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>
                          <a:latin typeface="+mj-lt"/>
                        </a:rPr>
                        <a:t>Genomför pilotprojek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ilotprojekt genomför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5697"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>
                          <a:latin typeface="+mj-lt"/>
                        </a:rPr>
                        <a:t>Följa upp och kommunicera pilotprojek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ppföljt</a:t>
                      </a:r>
                      <a:r>
                        <a:rPr lang="sv-SE" sz="13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pilotprojekt</a:t>
                      </a:r>
                      <a:endParaRPr lang="sv-SE" sz="13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2347866"/>
                  </a:ext>
                </a:extLst>
              </a:tr>
            </a:tbl>
          </a:graphicData>
        </a:graphic>
      </p:graphicFrame>
      <p:sp>
        <p:nvSpPr>
          <p:cNvPr id="2" name="textruta 1"/>
          <p:cNvSpPr txBox="1"/>
          <p:nvPr/>
        </p:nvSpPr>
        <p:spPr>
          <a:xfrm>
            <a:off x="444315" y="3508537"/>
            <a:ext cx="5232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latin typeface="+mj-lt"/>
              </a:rPr>
              <a:t>Status 2024-01-18: Projektet är pausat i väntan på upphandling som görs av Region Stockholm</a:t>
            </a:r>
          </a:p>
        </p:txBody>
      </p:sp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856634"/>
              </p:ext>
            </p:extLst>
          </p:nvPr>
        </p:nvGraphicFramePr>
        <p:xfrm>
          <a:off x="0" y="-61888"/>
          <a:ext cx="12192001" cy="282099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317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6440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50362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124056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2321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9732">
                <a:tc>
                  <a:txBody>
                    <a:bodyPr/>
                    <a:lstStyle/>
                    <a:p>
                      <a:r>
                        <a:rPr lang="sv-SE" sz="1300" i="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Öka återanvändningen av hjälpmedel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300" i="0" kern="1200" baseline="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Identifiera gemensamma produkter som inte återanvänd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i="0" dirty="0">
                          <a:latin typeface="+mj-lt"/>
                        </a:rPr>
                        <a:t>Produkter</a:t>
                      </a:r>
                      <a:r>
                        <a:rPr lang="sv-SE" sz="1300" i="0" baseline="0" dirty="0">
                          <a:latin typeface="+mj-lt"/>
                        </a:rPr>
                        <a:t> är utvalda</a:t>
                      </a:r>
                      <a:endParaRPr lang="sv-SE" sz="1300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9732">
                <a:tc>
                  <a:txBody>
                    <a:bodyPr/>
                    <a:lstStyle/>
                    <a:p>
                      <a:endParaRPr lang="sv-SE" sz="1300" i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Öka vår kunskap om</a:t>
                      </a:r>
                      <a:r>
                        <a:rPr lang="sv-SE" sz="13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vilka utmaningar och möjligheter som finns för att öka återanvändningen</a:t>
                      </a:r>
                      <a:endParaRPr lang="sv-SE" sz="13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nomförda</a:t>
                      </a:r>
                      <a:r>
                        <a:rPr lang="sv-SE" sz="13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ialoger</a:t>
                      </a:r>
                      <a:endParaRPr lang="sv-SE" sz="13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693">
                <a:tc>
                  <a:txBody>
                    <a:bodyPr/>
                    <a:lstStyle/>
                    <a:p>
                      <a:pPr lvl="0"/>
                      <a:endParaRPr lang="sv-SE" sz="1300" b="0" i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vgränsning av vilka hjälpmedel vi går vidare me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rodukter är utvald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1432">
                <a:tc>
                  <a:txBody>
                    <a:bodyPr/>
                    <a:lstStyle/>
                    <a:p>
                      <a:endParaRPr lang="sv-SE" sz="13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300" b="0" i="0" dirty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Ta fram en plan för det fortsatta arbet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300" b="0" i="0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718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0" i="0" kern="1200" dirty="0">
                          <a:solidFill>
                            <a:srgbClr val="393939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enomför och följ upp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Rektangel 1"/>
          <p:cNvSpPr/>
          <p:nvPr/>
        </p:nvSpPr>
        <p:spPr>
          <a:xfrm>
            <a:off x="457650" y="3349154"/>
            <a:ext cx="99548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dirty="0">
                <a:solidFill>
                  <a:srgbClr val="393939"/>
                </a:solidFill>
                <a:latin typeface="+mj-lt"/>
              </a:rPr>
              <a:t>Utredning är genomförd inom Sydöstra sjukvårdsregionen och utfallet visar att vi generellt har mycket hög grad </a:t>
            </a:r>
            <a:r>
              <a:rPr lang="sv-SE" dirty="0" smtClean="0">
                <a:solidFill>
                  <a:srgbClr val="393939"/>
                </a:solidFill>
                <a:latin typeface="+mj-lt"/>
              </a:rPr>
              <a:t>av</a:t>
            </a:r>
            <a:r>
              <a:rPr lang="sv-SE" dirty="0" smtClean="0">
                <a:solidFill>
                  <a:srgbClr val="393939"/>
                </a:solidFill>
                <a:latin typeface="+mj-lt"/>
              </a:rPr>
              <a:t> återanvändning. </a:t>
            </a:r>
            <a:r>
              <a:rPr lang="sv-SE" dirty="0">
                <a:solidFill>
                  <a:srgbClr val="393939"/>
                </a:solidFill>
                <a:latin typeface="+mj-lt"/>
              </a:rPr>
              <a:t>Förbättringspotential ligger i att säkra reservdelar efter avtalstid och att kunna </a:t>
            </a:r>
            <a:r>
              <a:rPr lang="sv-SE" dirty="0" smtClean="0">
                <a:solidFill>
                  <a:srgbClr val="393939"/>
                </a:solidFill>
                <a:latin typeface="+mj-lt"/>
              </a:rPr>
              <a:t>förlänga </a:t>
            </a:r>
            <a:r>
              <a:rPr lang="sv-SE" dirty="0">
                <a:solidFill>
                  <a:srgbClr val="393939"/>
                </a:solidFill>
                <a:latin typeface="+mj-lt"/>
              </a:rPr>
              <a:t>livslängden på hjälpmedel. Gemensamt beslut att inte rekommendera fortsatt arbete kring hjälpmedel.</a:t>
            </a:r>
          </a:p>
        </p:txBody>
      </p:sp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Minskad sårbarh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Resurseffektivi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Skapa stolthet och engagem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Minskad klimatpåverk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Invånarnas förtroende för vår hantering av resur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Ansvarsfull användning av skattemedel</a:t>
            </a:r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/>
              <a:t>Materialanvändning är den största klimatpåverkan i våra tre regioner. Inom utvalda fokusområden är det inte en överanvändning av produkter utan vi behöver arbeta med andra lösningar. Synpunkter från våra invånare om önskemål att lämna tillbaka hjälpmedel.</a:t>
            </a:r>
          </a:p>
          <a:p>
            <a:r>
              <a:rPr lang="sv-SE" sz="1800" dirty="0"/>
              <a:t>Utmaningar med behov av ledningsstöd: Behov av råvaror och cirkulära flöden för att kunna bedriva en långsiktigt hållbar vård.</a:t>
            </a:r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00</TotalTime>
  <Words>286</Words>
  <Application>Microsoft Office PowerPoint</Application>
  <PresentationFormat>Bredbild</PresentationFormat>
  <Paragraphs>44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2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SG hållbar utveckling  Översiktlig handlingsplan för 2023-2025 Cirkulära materialflöden av förkläden och hjälpmedel  Uppdaterad: 2024-03-08</vt:lpstr>
      <vt:lpstr>PowerPoint-presentation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12</cp:revision>
  <dcterms:created xsi:type="dcterms:W3CDTF">2020-10-30T06:43:58Z</dcterms:created>
  <dcterms:modified xsi:type="dcterms:W3CDTF">2024-03-08T14:21:48Z</dcterms:modified>
</cp:coreProperties>
</file>